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761" r:id="rId3"/>
  </p:sldMasterIdLst>
  <p:notesMasterIdLst>
    <p:notesMasterId r:id="rId20"/>
  </p:notesMasterIdLst>
  <p:handoutMasterIdLst>
    <p:handoutMasterId r:id="rId21"/>
  </p:handoutMasterIdLst>
  <p:sldIdLst>
    <p:sldId id="1277" r:id="rId4"/>
    <p:sldId id="1293" r:id="rId5"/>
    <p:sldId id="1294" r:id="rId6"/>
    <p:sldId id="1296" r:id="rId7"/>
    <p:sldId id="1359" r:id="rId8"/>
    <p:sldId id="1381" r:id="rId9"/>
    <p:sldId id="1382" r:id="rId10"/>
    <p:sldId id="1383" r:id="rId11"/>
    <p:sldId id="1373" r:id="rId12"/>
    <p:sldId id="1372" r:id="rId13"/>
    <p:sldId id="1376" r:id="rId14"/>
    <p:sldId id="1377" r:id="rId15"/>
    <p:sldId id="1343" r:id="rId16"/>
    <p:sldId id="1344" r:id="rId17"/>
    <p:sldId id="1345" r:id="rId18"/>
    <p:sldId id="1346" r:id="rId19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59"/>
            <p14:sldId id="1381"/>
            <p14:sldId id="1382"/>
            <p14:sldId id="1383"/>
            <p14:sldId id="1373"/>
            <p14:sldId id="1372"/>
            <p14:sldId id="1376"/>
            <p14:sldId id="1377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1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864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4C6-4713-9BC4-56C43B03A698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9A7-4D33-8040-2FEBD6AE119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moravský kraj</c:v>
                </c:pt>
                <c:pt idx="2">
                  <c:v>Jihočeský kraj</c:v>
                </c:pt>
                <c:pt idx="3">
                  <c:v>Liberecký kraj</c:v>
                </c:pt>
                <c:pt idx="4">
                  <c:v>Pardubický kraj</c:v>
                </c:pt>
                <c:pt idx="5">
                  <c:v>Olomoucký kraj</c:v>
                </c:pt>
                <c:pt idx="6">
                  <c:v>Ústecký kraj</c:v>
                </c:pt>
                <c:pt idx="7">
                  <c:v>Plzeňský kraj</c:v>
                </c:pt>
                <c:pt idx="8">
                  <c:v>ČR</c:v>
                </c:pt>
                <c:pt idx="9">
                  <c:v>Zlínský kraj</c:v>
                </c:pt>
                <c:pt idx="10">
                  <c:v>Středočeský kraj</c:v>
                </c:pt>
                <c:pt idx="11">
                  <c:v>Moravskoslezský kraj</c:v>
                </c:pt>
                <c:pt idx="12">
                  <c:v>Karlovarský kraj</c:v>
                </c:pt>
                <c:pt idx="13">
                  <c:v>Královéhradec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6342725704399997</c:v>
                </c:pt>
                <c:pt idx="1">
                  <c:v>0.330683624801</c:v>
                </c:pt>
                <c:pt idx="2">
                  <c:v>0.308445532435</c:v>
                </c:pt>
                <c:pt idx="3">
                  <c:v>0.27060270602699998</c:v>
                </c:pt>
                <c:pt idx="4">
                  <c:v>0.260821309655</c:v>
                </c:pt>
                <c:pt idx="5">
                  <c:v>0.241426611796</c:v>
                </c:pt>
                <c:pt idx="6">
                  <c:v>0.23997326203200001</c:v>
                </c:pt>
                <c:pt idx="7">
                  <c:v>0.23865755127400001</c:v>
                </c:pt>
                <c:pt idx="8">
                  <c:v>0.23090805052999999</c:v>
                </c:pt>
                <c:pt idx="9">
                  <c:v>0.20892274211</c:v>
                </c:pt>
                <c:pt idx="10">
                  <c:v>0.20494889725599999</c:v>
                </c:pt>
                <c:pt idx="11">
                  <c:v>0.188031161473</c:v>
                </c:pt>
                <c:pt idx="12">
                  <c:v>0.16985645932999999</c:v>
                </c:pt>
                <c:pt idx="13">
                  <c:v>0.123385939741</c:v>
                </c:pt>
                <c:pt idx="14">
                  <c:v>0.121376234469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708-428D-9590-EE58214A90A3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E3-41DF-9789-939FCE037805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Středočeský kraj</c:v>
                </c:pt>
                <c:pt idx="2">
                  <c:v>Královéhradecký kraj</c:v>
                </c:pt>
                <c:pt idx="3">
                  <c:v>Jihomoravský kraj</c:v>
                </c:pt>
                <c:pt idx="4">
                  <c:v>Pardubický kraj</c:v>
                </c:pt>
                <c:pt idx="5">
                  <c:v>Jihočeský kraj</c:v>
                </c:pt>
                <c:pt idx="6">
                  <c:v>Zlínský kraj</c:v>
                </c:pt>
                <c:pt idx="7">
                  <c:v>Plzeňský kraj</c:v>
                </c:pt>
                <c:pt idx="8">
                  <c:v>ČR</c:v>
                </c:pt>
                <c:pt idx="9">
                  <c:v>Ústecký kraj</c:v>
                </c:pt>
                <c:pt idx="10">
                  <c:v>Moravskoslezský kraj</c:v>
                </c:pt>
                <c:pt idx="11">
                  <c:v>Olomoucký kraj</c:v>
                </c:pt>
                <c:pt idx="12">
                  <c:v>Liber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1414141414099997</c:v>
                </c:pt>
                <c:pt idx="1">
                  <c:v>0.41350210970399998</c:v>
                </c:pt>
                <c:pt idx="2">
                  <c:v>0.36956521739100001</c:v>
                </c:pt>
                <c:pt idx="3">
                  <c:v>0.35990338164199998</c:v>
                </c:pt>
                <c:pt idx="4">
                  <c:v>0.32824427480899998</c:v>
                </c:pt>
                <c:pt idx="5">
                  <c:v>0.278911564625</c:v>
                </c:pt>
                <c:pt idx="6">
                  <c:v>0.27868852458999999</c:v>
                </c:pt>
                <c:pt idx="7">
                  <c:v>0.27125506072799999</c:v>
                </c:pt>
                <c:pt idx="8">
                  <c:v>0.26263463131699999</c:v>
                </c:pt>
                <c:pt idx="9">
                  <c:v>0.25581395348800001</c:v>
                </c:pt>
                <c:pt idx="10">
                  <c:v>0.245579567779</c:v>
                </c:pt>
                <c:pt idx="11">
                  <c:v>0.20304568527899999</c:v>
                </c:pt>
                <c:pt idx="12">
                  <c:v>0.17821782178199999</c:v>
                </c:pt>
                <c:pt idx="13">
                  <c:v>0.156626506024</c:v>
                </c:pt>
                <c:pt idx="14">
                  <c:v>0.1452229299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A4E-4A09-9DF7-4FEE22AA6BF2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B00-4D60-9A24-9144AA6A1D22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Pt>
            <c:idx val="10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204-473A-B7BE-50056BFDC275}"/>
              </c:ext>
            </c:extLst>
          </c:dPt>
          <c:dPt>
            <c:idx val="11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A1-4E8C-9089-81C55C8D80E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moravský kraj</c:v>
                </c:pt>
                <c:pt idx="2">
                  <c:v>Kraj Vysočina</c:v>
                </c:pt>
                <c:pt idx="3">
                  <c:v>Jihočeský kraj</c:v>
                </c:pt>
                <c:pt idx="4">
                  <c:v>Středočeský kraj</c:v>
                </c:pt>
                <c:pt idx="5">
                  <c:v>Královéhradecký kraj</c:v>
                </c:pt>
                <c:pt idx="6">
                  <c:v>Ústecký kraj</c:v>
                </c:pt>
                <c:pt idx="7">
                  <c:v>ČR</c:v>
                </c:pt>
                <c:pt idx="8">
                  <c:v>Moravskoslezský kraj</c:v>
                </c:pt>
                <c:pt idx="9">
                  <c:v>Olomouc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Liberecký kraj</c:v>
                </c:pt>
                <c:pt idx="13">
                  <c:v>Hlavní město Praha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5869565217299998</c:v>
                </c:pt>
                <c:pt idx="1">
                  <c:v>0.30303030303</c:v>
                </c:pt>
                <c:pt idx="2">
                  <c:v>0.29032258064499999</c:v>
                </c:pt>
                <c:pt idx="3">
                  <c:v>0.265625</c:v>
                </c:pt>
                <c:pt idx="4">
                  <c:v>0.260869565217</c:v>
                </c:pt>
                <c:pt idx="5">
                  <c:v>0.254385964912</c:v>
                </c:pt>
                <c:pt idx="6">
                  <c:v>0.21848739495700001</c:v>
                </c:pt>
                <c:pt idx="7">
                  <c:v>0.18686131386800001</c:v>
                </c:pt>
                <c:pt idx="8">
                  <c:v>0.17475728155299999</c:v>
                </c:pt>
                <c:pt idx="9">
                  <c:v>0.17241379310300001</c:v>
                </c:pt>
                <c:pt idx="10">
                  <c:v>0.14516129032200001</c:v>
                </c:pt>
                <c:pt idx="11">
                  <c:v>0.144827586206</c:v>
                </c:pt>
                <c:pt idx="12">
                  <c:v>0.111111111111</c:v>
                </c:pt>
                <c:pt idx="13">
                  <c:v>8.4566596194000004E-2</c:v>
                </c:pt>
                <c:pt idx="14">
                  <c:v>6.976744186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9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1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3</c:v>
                </c:pt>
                <c:pt idx="32">
                  <c:v>2292</c:v>
                </c:pt>
                <c:pt idx="33">
                  <c:v>2495</c:v>
                </c:pt>
                <c:pt idx="34">
                  <c:v>2657</c:v>
                </c:pt>
                <c:pt idx="35">
                  <c:v>2799</c:v>
                </c:pt>
                <c:pt idx="36">
                  <c:v>2799</c:v>
                </c:pt>
                <c:pt idx="37">
                  <c:v>2950</c:v>
                </c:pt>
                <c:pt idx="38">
                  <c:v>3411</c:v>
                </c:pt>
                <c:pt idx="39">
                  <c:v>3609</c:v>
                </c:pt>
                <c:pt idx="40">
                  <c:v>3755</c:v>
                </c:pt>
                <c:pt idx="41">
                  <c:v>3884</c:v>
                </c:pt>
                <c:pt idx="42">
                  <c:v>4046</c:v>
                </c:pt>
                <c:pt idx="43">
                  <c:v>3987</c:v>
                </c:pt>
                <c:pt idx="44">
                  <c:v>4129</c:v>
                </c:pt>
                <c:pt idx="45">
                  <c:v>4777</c:v>
                </c:pt>
                <c:pt idx="46">
                  <c:v>4849</c:v>
                </c:pt>
                <c:pt idx="47">
                  <c:v>4812</c:v>
                </c:pt>
                <c:pt idx="48">
                  <c:v>5177</c:v>
                </c:pt>
                <c:pt idx="49">
                  <c:v>5302</c:v>
                </c:pt>
                <c:pt idx="50">
                  <c:v>5192</c:v>
                </c:pt>
                <c:pt idx="51">
                  <c:v>5392</c:v>
                </c:pt>
                <c:pt idx="52">
                  <c:v>5975</c:v>
                </c:pt>
                <c:pt idx="53">
                  <c:v>6097</c:v>
                </c:pt>
                <c:pt idx="54">
                  <c:v>6189</c:v>
                </c:pt>
                <c:pt idx="55">
                  <c:v>6259</c:v>
                </c:pt>
                <c:pt idx="56">
                  <c:v>6294</c:v>
                </c:pt>
                <c:pt idx="57">
                  <c:v>6076</c:v>
                </c:pt>
                <c:pt idx="58">
                  <c:v>6254</c:v>
                </c:pt>
                <c:pt idx="59">
                  <c:v>6911</c:v>
                </c:pt>
                <c:pt idx="60">
                  <c:v>68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4</c:v>
                </c:pt>
                <c:pt idx="50">
                  <c:v>752</c:v>
                </c:pt>
                <c:pt idx="51">
                  <c:v>779</c:v>
                </c:pt>
                <c:pt idx="52">
                  <c:v>815</c:v>
                </c:pt>
                <c:pt idx="53">
                  <c:v>858</c:v>
                </c:pt>
                <c:pt idx="54">
                  <c:v>863</c:v>
                </c:pt>
                <c:pt idx="55">
                  <c:v>889</c:v>
                </c:pt>
                <c:pt idx="56">
                  <c:v>910</c:v>
                </c:pt>
                <c:pt idx="57">
                  <c:v>920</c:v>
                </c:pt>
                <c:pt idx="58">
                  <c:v>928</c:v>
                </c:pt>
                <c:pt idx="59">
                  <c:v>970</c:v>
                </c:pt>
                <c:pt idx="60">
                  <c:v>9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5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5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998539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75498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23107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66608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65441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4502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9688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848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94108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04837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9275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05636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6133802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5258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/>
              <a:t>5</a:t>
            </a:r>
            <a:r>
              <a:rPr lang="cs-CZ" b="1" dirty="0" smtClean="0"/>
              <a:t>. </a:t>
            </a:r>
            <a:r>
              <a:rPr lang="cs-CZ" b="1" dirty="0" smtClean="0"/>
              <a:t>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02A290B3-A2EE-4530-9710-BF16A1D9E25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96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811036" y="591957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279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0064336"/>
              </p:ext>
            </p:extLst>
          </p:nvPr>
        </p:nvGraphicFramePr>
        <p:xfrm>
          <a:off x="8663881" y="3497478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10.202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1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200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527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8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4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7" name="Obdélník 6"/>
          <p:cNvSpPr/>
          <p:nvPr/>
        </p:nvSpPr>
        <p:spPr>
          <a:xfrm>
            <a:off x="8663616" y="1992616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Data k </a:t>
            </a:r>
            <a:r>
              <a:rPr lang="cs-CZ" b="1" dirty="0" smtClean="0"/>
              <a:t>30.11.2021</a:t>
            </a:r>
            <a:endParaRPr lang="cs-CZ" b="1" dirty="0"/>
          </a:p>
          <a:p>
            <a:pPr algn="ctr"/>
            <a:r>
              <a:rPr lang="cs-CZ" dirty="0" smtClean="0"/>
              <a:t>odpovídala </a:t>
            </a:r>
            <a:r>
              <a:rPr lang="cs-CZ" dirty="0"/>
              <a:t>ve srovnání s loňským podzimem datům z </a:t>
            </a:r>
            <a:r>
              <a:rPr lang="cs-CZ" b="1" dirty="0" smtClean="0"/>
              <a:t>26.10.2020</a:t>
            </a:r>
            <a:endParaRPr lang="cs-CZ" b="1" dirty="0"/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219318" y="4914531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10" name="Zástupný obsah 7">
            <a:extLst>
              <a:ext uri="{FF2B5EF4-FFF2-40B4-BE49-F238E27FC236}">
                <a16:creationId xmlns:a16="http://schemas.microsoft.com/office/drawing/2014/main" id="{72F6A126-A101-4573-B135-F4C768A173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19" y="984739"/>
            <a:ext cx="8592497" cy="526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478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 smtClean="0"/>
              <a:t>mapping</a:t>
            </a:r>
            <a:r>
              <a:rPr lang="cs-CZ" dirty="0" smtClean="0"/>
              <a:t> – zdroj UZIS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redikce počtu nově hospitalizovaných </a:t>
            </a:r>
            <a:r>
              <a:rPr lang="cs-CZ" dirty="0"/>
              <a:t>s COVID-19 v následujících </a:t>
            </a:r>
            <a:r>
              <a:rPr lang="cs-CZ" dirty="0" smtClean="0"/>
              <a:t>10 dnech z aktuálního prevalenčního poolu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/>
          </p:nvPr>
        </p:nvGraphicFramePr>
        <p:xfrm>
          <a:off x="3134561" y="1485449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0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13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9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8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4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8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9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87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9455890" y="511221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272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088458"/>
              </p:ext>
            </p:extLst>
          </p:nvPr>
        </p:nvGraphicFramePr>
        <p:xfrm>
          <a:off x="367815" y="963978"/>
          <a:ext cx="11405086" cy="5163204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žádá o zastavení přísunu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C+ pac. z důvodu úplného vyčerpání kapacit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prakticky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ituace se zhoršuje, postupně navyšovány kapacity standardní i intenzivní péče, kde již minimální rezerva jednotek lůžek. Mnohde již na hraně možností, které jsou nižší než v jarních měsících.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ě krizová situace může i během hodin přejít v krizovou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 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403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ze očekávat další zhoršování především v segmentu intenzivní péče jak pro COVID tak i non-COVID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3472734"/>
              </p:ext>
            </p:extLst>
          </p:nvPr>
        </p:nvGraphicFramePr>
        <p:xfrm>
          <a:off x="270500" y="990491"/>
          <a:ext cx="11587543" cy="5327279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5799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 jednání KŠ kraje: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 páteřních </a:t>
                      </a:r>
                      <a:r>
                        <a:rPr lang="cs-CZ" sz="1300" b="0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kraje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zdravotníků v LBK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 kapacitních a personálních důvodů laboratoří v kraji trvá vyhodnocení PCR i týden.</a:t>
                      </a:r>
                      <a:endParaRPr lang="cs-CZ" sz="1300" b="0" i="0" kern="120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0 pacientů denně, dochází k navýšení počtu pacientů jdoucích rovnou z terénu na JIP – v minulém týdnu cca 1hosp/denně, nyní 3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odsp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den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ušice, Stod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221843"/>
              </p:ext>
            </p:extLst>
          </p:nvPr>
        </p:nvGraphicFramePr>
        <p:xfrm>
          <a:off x="350228" y="664385"/>
          <a:ext cx="11519385" cy="598505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670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9325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ání KŠ:</a:t>
                      </a: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á naplněnos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ddělení nemocnic, připravena redistribuce pacientů mezi nemocnicemi v kraj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hrně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mezi C/D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vyčerpány lidské i materiální zdroje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dlišná situace v různých okresech – nejhorší v Blansku a Vyškově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978670"/>
              </p:ext>
            </p:extLst>
          </p:nvPr>
        </p:nvGraphicFramePr>
        <p:xfrm>
          <a:off x="337698" y="706833"/>
          <a:ext cx="11435203" cy="596353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24067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vá nárůst C19 hospitalizací, výrazněji standard než J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oskytují péči ve výrazně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boptimálním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sonálním zajištění (zejména NLZP), pro další rozšíření péče je klíčové personální posíl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mitovaně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lze zajistit v redistribucí v rámci nemocnic, s předpokladem dalšího nárůstu počtů pacientů je potřeba i externího posílení alespoň pomocným personálem (AČR, HZS, studenti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bez významných změn, nadále vážná, ale zvladatelná v rámci kraje.</a:t>
                      </a:r>
                      <a:endParaRPr lang="cs-CZ" sz="13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5 pacientů denně na standardních odd., 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Také dochází k navýšení počtu pacientů jdoucích rovnou z terénu. 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70 PN, z toho 40 pro COVID). Řada nemocnic diskutuje o HPO. Při absenci nouzového stavu a hromadného postižení osob nelze dobře rekrutovat pomocnou sílu do nemocnic, žádáme razantní omezení sociálních kontaktů všemi opatřením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/>
              <a:t>5</a:t>
            </a:r>
            <a:r>
              <a:rPr lang="cs-CZ" b="1" dirty="0" smtClean="0"/>
              <a:t>.12.2021 </a:t>
            </a:r>
            <a:r>
              <a:rPr lang="cs-CZ" b="1" dirty="0" smtClean="0"/>
              <a:t>00:26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918</a:t>
            </a:r>
            <a:endParaRPr lang="cs-CZ" b="1" dirty="0" smtClean="0"/>
          </a:p>
          <a:p>
            <a:pPr algn="ctr"/>
            <a:endParaRPr lang="cs-CZ" sz="2000" b="1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3861093"/>
              </p:ext>
            </p:extLst>
          </p:nvPr>
        </p:nvGraphicFramePr>
        <p:xfrm>
          <a:off x="332819" y="997525"/>
          <a:ext cx="10159691" cy="5389586"/>
        </p:xfrm>
        <a:graphic>
          <a:graphicData uri="http://schemas.openxmlformats.org/drawingml/2006/table">
            <a:tbl>
              <a:tblPr/>
              <a:tblGrid>
                <a:gridCol w="2290405">
                  <a:extLst>
                    <a:ext uri="{9D8B030D-6E8A-4147-A177-3AD203B41FA5}">
                      <a16:colId xmlns:a16="http://schemas.microsoft.com/office/drawing/2014/main" val="1887087178"/>
                    </a:ext>
                  </a:extLst>
                </a:gridCol>
                <a:gridCol w="1304468">
                  <a:extLst>
                    <a:ext uri="{9D8B030D-6E8A-4147-A177-3AD203B41FA5}">
                      <a16:colId xmlns:a16="http://schemas.microsoft.com/office/drawing/2014/main" val="3576129578"/>
                    </a:ext>
                  </a:extLst>
                </a:gridCol>
                <a:gridCol w="1289301">
                  <a:extLst>
                    <a:ext uri="{9D8B030D-6E8A-4147-A177-3AD203B41FA5}">
                      <a16:colId xmlns:a16="http://schemas.microsoft.com/office/drawing/2014/main" val="418183947"/>
                    </a:ext>
                  </a:extLst>
                </a:gridCol>
                <a:gridCol w="1289301">
                  <a:extLst>
                    <a:ext uri="{9D8B030D-6E8A-4147-A177-3AD203B41FA5}">
                      <a16:colId xmlns:a16="http://schemas.microsoft.com/office/drawing/2014/main" val="1474509102"/>
                    </a:ext>
                  </a:extLst>
                </a:gridCol>
                <a:gridCol w="1349975">
                  <a:extLst>
                    <a:ext uri="{9D8B030D-6E8A-4147-A177-3AD203B41FA5}">
                      <a16:colId xmlns:a16="http://schemas.microsoft.com/office/drawing/2014/main" val="3691234875"/>
                    </a:ext>
                  </a:extLst>
                </a:gridCol>
                <a:gridCol w="1073912">
                  <a:extLst>
                    <a:ext uri="{9D8B030D-6E8A-4147-A177-3AD203B41FA5}">
                      <a16:colId xmlns:a16="http://schemas.microsoft.com/office/drawing/2014/main" val="32352262"/>
                    </a:ext>
                  </a:extLst>
                </a:gridCol>
                <a:gridCol w="1562329">
                  <a:extLst>
                    <a:ext uri="{9D8B030D-6E8A-4147-A177-3AD203B41FA5}">
                      <a16:colId xmlns:a16="http://schemas.microsoft.com/office/drawing/2014/main" val="1208746031"/>
                    </a:ext>
                  </a:extLst>
                </a:gridCol>
              </a:tblGrid>
              <a:tr h="214770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7909383"/>
                  </a:ext>
                </a:extLst>
              </a:tr>
              <a:tr h="214770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5.12. 2021, 17:00 h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3361558"/>
                  </a:ext>
                </a:extLst>
              </a:tr>
              <a:tr h="177952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8760045"/>
                  </a:ext>
                </a:extLst>
              </a:tr>
              <a:tr h="1902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9974706"/>
                  </a:ext>
                </a:extLst>
              </a:tr>
              <a:tr h="74248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5209871"/>
                  </a:ext>
                </a:extLst>
              </a:tr>
              <a:tr h="1840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698972"/>
                  </a:ext>
                </a:extLst>
              </a:tr>
              <a:tr h="1840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3227236"/>
                  </a:ext>
                </a:extLst>
              </a:tr>
              <a:tr h="1840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8368943"/>
                  </a:ext>
                </a:extLst>
              </a:tr>
              <a:tr h="1840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6899713"/>
                  </a:ext>
                </a:extLst>
              </a:tr>
              <a:tr h="191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090348"/>
                  </a:ext>
                </a:extLst>
              </a:tr>
              <a:tr h="1840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5536934"/>
                  </a:ext>
                </a:extLst>
              </a:tr>
              <a:tr h="1840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6200193"/>
                  </a:ext>
                </a:extLst>
              </a:tr>
              <a:tr h="1840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1116709"/>
                  </a:ext>
                </a:extLst>
              </a:tr>
              <a:tr h="1840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3709200"/>
                  </a:ext>
                </a:extLst>
              </a:tr>
              <a:tr h="1840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8346990"/>
                  </a:ext>
                </a:extLst>
              </a:tr>
              <a:tr h="1840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1230697"/>
                  </a:ext>
                </a:extLst>
              </a:tr>
              <a:tr h="1840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7709968"/>
                  </a:ext>
                </a:extLst>
              </a:tr>
              <a:tr h="1840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1144529"/>
                  </a:ext>
                </a:extLst>
              </a:tr>
              <a:tr h="2071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4014177"/>
                  </a:ext>
                </a:extLst>
              </a:tr>
              <a:tr h="1994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25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5450722"/>
                  </a:ext>
                </a:extLst>
              </a:tr>
              <a:tr h="260792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3894295"/>
                  </a:ext>
                </a:extLst>
              </a:tr>
              <a:tr h="177952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678002"/>
                  </a:ext>
                </a:extLst>
              </a:tr>
              <a:tr h="34976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7917833"/>
                  </a:ext>
                </a:extLst>
              </a:tr>
              <a:tr h="184088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59279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5528733"/>
              </p:ext>
            </p:extLst>
          </p:nvPr>
        </p:nvGraphicFramePr>
        <p:xfrm>
          <a:off x="332819" y="969819"/>
          <a:ext cx="10021146" cy="5389899"/>
        </p:xfrm>
        <a:graphic>
          <a:graphicData uri="http://schemas.openxmlformats.org/drawingml/2006/table">
            <a:tbl>
              <a:tblPr/>
              <a:tblGrid>
                <a:gridCol w="2259171">
                  <a:extLst>
                    <a:ext uri="{9D8B030D-6E8A-4147-A177-3AD203B41FA5}">
                      <a16:colId xmlns:a16="http://schemas.microsoft.com/office/drawing/2014/main" val="2199996229"/>
                    </a:ext>
                  </a:extLst>
                </a:gridCol>
                <a:gridCol w="1286681">
                  <a:extLst>
                    <a:ext uri="{9D8B030D-6E8A-4147-A177-3AD203B41FA5}">
                      <a16:colId xmlns:a16="http://schemas.microsoft.com/office/drawing/2014/main" val="3864458877"/>
                    </a:ext>
                  </a:extLst>
                </a:gridCol>
                <a:gridCol w="1271719">
                  <a:extLst>
                    <a:ext uri="{9D8B030D-6E8A-4147-A177-3AD203B41FA5}">
                      <a16:colId xmlns:a16="http://schemas.microsoft.com/office/drawing/2014/main" val="878212246"/>
                    </a:ext>
                  </a:extLst>
                </a:gridCol>
                <a:gridCol w="1271719">
                  <a:extLst>
                    <a:ext uri="{9D8B030D-6E8A-4147-A177-3AD203B41FA5}">
                      <a16:colId xmlns:a16="http://schemas.microsoft.com/office/drawing/2014/main" val="3934440952"/>
                    </a:ext>
                  </a:extLst>
                </a:gridCol>
                <a:gridCol w="1331564">
                  <a:extLst>
                    <a:ext uri="{9D8B030D-6E8A-4147-A177-3AD203B41FA5}">
                      <a16:colId xmlns:a16="http://schemas.microsoft.com/office/drawing/2014/main" val="3851468529"/>
                    </a:ext>
                  </a:extLst>
                </a:gridCol>
                <a:gridCol w="1059269">
                  <a:extLst>
                    <a:ext uri="{9D8B030D-6E8A-4147-A177-3AD203B41FA5}">
                      <a16:colId xmlns:a16="http://schemas.microsoft.com/office/drawing/2014/main" val="1430860988"/>
                    </a:ext>
                  </a:extLst>
                </a:gridCol>
                <a:gridCol w="1541023">
                  <a:extLst>
                    <a:ext uri="{9D8B030D-6E8A-4147-A177-3AD203B41FA5}">
                      <a16:colId xmlns:a16="http://schemas.microsoft.com/office/drawing/2014/main" val="1511716014"/>
                    </a:ext>
                  </a:extLst>
                </a:gridCol>
              </a:tblGrid>
              <a:tr h="213552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6338758"/>
                  </a:ext>
                </a:extLst>
              </a:tr>
              <a:tr h="220725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5.12. 2021, 17:00 h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9317720"/>
                  </a:ext>
                </a:extLst>
              </a:tr>
              <a:tr h="195499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6583506"/>
                  </a:ext>
                </a:extLst>
              </a:tr>
              <a:tr h="19549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0095824"/>
                  </a:ext>
                </a:extLst>
              </a:tr>
              <a:tr h="76307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7352911"/>
                  </a:ext>
                </a:extLst>
              </a:tr>
              <a:tr h="1891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2980930"/>
                  </a:ext>
                </a:extLst>
              </a:tr>
              <a:tr h="1891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4650059"/>
                  </a:ext>
                </a:extLst>
              </a:tr>
              <a:tr h="1891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7273596"/>
                  </a:ext>
                </a:extLst>
              </a:tr>
              <a:tr h="1891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4826667"/>
                  </a:ext>
                </a:extLst>
              </a:tr>
              <a:tr h="1891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3245090"/>
                  </a:ext>
                </a:extLst>
              </a:tr>
              <a:tr h="1891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858153"/>
                  </a:ext>
                </a:extLst>
              </a:tr>
              <a:tr h="1891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4527701"/>
                  </a:ext>
                </a:extLst>
              </a:tr>
              <a:tr h="1970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1959625"/>
                  </a:ext>
                </a:extLst>
              </a:tr>
              <a:tr h="1891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1278919"/>
                  </a:ext>
                </a:extLst>
              </a:tr>
              <a:tr h="1891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1387623"/>
                  </a:ext>
                </a:extLst>
              </a:tr>
              <a:tr h="1891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2689889"/>
                  </a:ext>
                </a:extLst>
              </a:tr>
              <a:tr h="1891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0235735"/>
                  </a:ext>
                </a:extLst>
              </a:tr>
              <a:tr h="1891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3074520"/>
                  </a:ext>
                </a:extLst>
              </a:tr>
              <a:tr h="1954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5638697"/>
                  </a:ext>
                </a:extLst>
              </a:tr>
              <a:tr h="2128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5377165"/>
                  </a:ext>
                </a:extLst>
              </a:tr>
              <a:tr h="189192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7189292"/>
                  </a:ext>
                </a:extLst>
              </a:tr>
              <a:tr h="182885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1431261"/>
                  </a:ext>
                </a:extLst>
              </a:tr>
              <a:tr h="35946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9044257"/>
                  </a:ext>
                </a:extLst>
              </a:tr>
              <a:tr h="189192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40925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5.12.2021 </a:t>
            </a:r>
            <a:r>
              <a:rPr lang="cs-CZ" b="1" dirty="0" smtClean="0"/>
              <a:t>00:26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5 </a:t>
            </a:r>
            <a:r>
              <a:rPr lang="cs-CZ" sz="2000" b="1" dirty="0" smtClean="0"/>
              <a:t>513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8331777"/>
              </p:ext>
            </p:extLst>
          </p:nvPr>
        </p:nvGraphicFramePr>
        <p:xfrm>
          <a:off x="332818" y="988287"/>
          <a:ext cx="8781477" cy="5384811"/>
        </p:xfrm>
        <a:graphic>
          <a:graphicData uri="http://schemas.openxmlformats.org/drawingml/2006/table">
            <a:tbl>
              <a:tblPr/>
              <a:tblGrid>
                <a:gridCol w="1946568">
                  <a:extLst>
                    <a:ext uri="{9D8B030D-6E8A-4147-A177-3AD203B41FA5}">
                      <a16:colId xmlns:a16="http://schemas.microsoft.com/office/drawing/2014/main" val="3815050530"/>
                    </a:ext>
                  </a:extLst>
                </a:gridCol>
                <a:gridCol w="1108642">
                  <a:extLst>
                    <a:ext uri="{9D8B030D-6E8A-4147-A177-3AD203B41FA5}">
                      <a16:colId xmlns:a16="http://schemas.microsoft.com/office/drawing/2014/main" val="3802631203"/>
                    </a:ext>
                  </a:extLst>
                </a:gridCol>
                <a:gridCol w="1095752">
                  <a:extLst>
                    <a:ext uri="{9D8B030D-6E8A-4147-A177-3AD203B41FA5}">
                      <a16:colId xmlns:a16="http://schemas.microsoft.com/office/drawing/2014/main" val="1088442578"/>
                    </a:ext>
                  </a:extLst>
                </a:gridCol>
                <a:gridCol w="1095752">
                  <a:extLst>
                    <a:ext uri="{9D8B030D-6E8A-4147-A177-3AD203B41FA5}">
                      <a16:colId xmlns:a16="http://schemas.microsoft.com/office/drawing/2014/main" val="647790080"/>
                    </a:ext>
                  </a:extLst>
                </a:gridCol>
                <a:gridCol w="1147315">
                  <a:extLst>
                    <a:ext uri="{9D8B030D-6E8A-4147-A177-3AD203B41FA5}">
                      <a16:colId xmlns:a16="http://schemas.microsoft.com/office/drawing/2014/main" val="2286230144"/>
                    </a:ext>
                  </a:extLst>
                </a:gridCol>
                <a:gridCol w="1327792">
                  <a:extLst>
                    <a:ext uri="{9D8B030D-6E8A-4147-A177-3AD203B41FA5}">
                      <a16:colId xmlns:a16="http://schemas.microsoft.com/office/drawing/2014/main" val="4014251843"/>
                    </a:ext>
                  </a:extLst>
                </a:gridCol>
                <a:gridCol w="1059656">
                  <a:extLst>
                    <a:ext uri="{9D8B030D-6E8A-4147-A177-3AD203B41FA5}">
                      <a16:colId xmlns:a16="http://schemas.microsoft.com/office/drawing/2014/main" val="1127710291"/>
                    </a:ext>
                  </a:extLst>
                </a:gridCol>
              </a:tblGrid>
              <a:tr h="226872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3135873"/>
                  </a:ext>
                </a:extLst>
              </a:tr>
              <a:tr h="226872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5.12. 2021, 17:00 h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3521048"/>
                  </a:ext>
                </a:extLst>
              </a:tr>
              <a:tr h="20094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6881527"/>
                  </a:ext>
                </a:extLst>
              </a:tr>
              <a:tr h="22687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067917"/>
                  </a:ext>
                </a:extLst>
              </a:tr>
              <a:tr h="58986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631664"/>
                  </a:ext>
                </a:extLst>
              </a:tr>
              <a:tr h="194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218772"/>
                  </a:ext>
                </a:extLst>
              </a:tr>
              <a:tr h="194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5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6864635"/>
                  </a:ext>
                </a:extLst>
              </a:tr>
              <a:tr h="194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4821171"/>
                  </a:ext>
                </a:extLst>
              </a:tr>
              <a:tr h="194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2176165"/>
                  </a:ext>
                </a:extLst>
              </a:tr>
              <a:tr h="194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395624"/>
                  </a:ext>
                </a:extLst>
              </a:tr>
              <a:tr h="194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7864860"/>
                  </a:ext>
                </a:extLst>
              </a:tr>
              <a:tr h="194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5903669"/>
                  </a:ext>
                </a:extLst>
              </a:tr>
              <a:tr h="194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3313471"/>
                  </a:ext>
                </a:extLst>
              </a:tr>
              <a:tr h="194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676843"/>
                  </a:ext>
                </a:extLst>
              </a:tr>
              <a:tr h="194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9256502"/>
                  </a:ext>
                </a:extLst>
              </a:tr>
              <a:tr h="194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4390511"/>
                  </a:ext>
                </a:extLst>
              </a:tr>
              <a:tr h="194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5847831"/>
                  </a:ext>
                </a:extLst>
              </a:tr>
              <a:tr h="194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5686559"/>
                  </a:ext>
                </a:extLst>
              </a:tr>
              <a:tr h="2009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818200"/>
                  </a:ext>
                </a:extLst>
              </a:tr>
              <a:tr h="218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4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6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6155693"/>
                  </a:ext>
                </a:extLst>
              </a:tr>
              <a:tr h="194463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2005617"/>
                  </a:ext>
                </a:extLst>
              </a:tr>
              <a:tr h="194402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189125"/>
                  </a:ext>
                </a:extLst>
              </a:tr>
              <a:tr h="38232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760045"/>
                  </a:ext>
                </a:extLst>
              </a:tr>
              <a:tr h="19446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03601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12.2021 17:3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9683495"/>
              </p:ext>
            </p:extLst>
          </p:nvPr>
        </p:nvGraphicFramePr>
        <p:xfrm>
          <a:off x="1283679" y="2182636"/>
          <a:ext cx="6284256" cy="2453640"/>
        </p:xfrm>
        <a:graphic>
          <a:graphicData uri="http://schemas.openxmlformats.org/drawingml/2006/table">
            <a:tbl>
              <a:tblPr/>
              <a:tblGrid>
                <a:gridCol w="3894991">
                  <a:extLst>
                    <a:ext uri="{9D8B030D-6E8A-4147-A177-3AD203B41FA5}">
                      <a16:colId xmlns:a16="http://schemas.microsoft.com/office/drawing/2014/main" val="2051997318"/>
                    </a:ext>
                  </a:extLst>
                </a:gridCol>
                <a:gridCol w="639751">
                  <a:extLst>
                    <a:ext uri="{9D8B030D-6E8A-4147-A177-3AD203B41FA5}">
                      <a16:colId xmlns:a16="http://schemas.microsoft.com/office/drawing/2014/main" val="269377338"/>
                    </a:ext>
                  </a:extLst>
                </a:gridCol>
                <a:gridCol w="1749514">
                  <a:extLst>
                    <a:ext uri="{9D8B030D-6E8A-4147-A177-3AD203B41FA5}">
                      <a16:colId xmlns:a16="http://schemas.microsoft.com/office/drawing/2014/main" val="3451513042"/>
                    </a:ext>
                  </a:extLst>
                </a:gridCol>
              </a:tblGrid>
              <a:tr h="3505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8651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l-PL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hab. Nemocnice Beroun Jessenia</a:t>
                      </a:r>
                      <a:endParaRPr lang="pl-PL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4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Č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4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1.2021. 8:08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4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940302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Říčany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Č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1.2021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6:55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21391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Kutná Hora 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Č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2.2021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4:25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4636663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laný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Č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2.12.2021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7:30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41869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l-PL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mažlická nemocnice</a:t>
                      </a:r>
                      <a:endParaRPr lang="pl-PL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Č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2.12.2021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9:57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3165109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l-PL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sarykova nemocnice Rakovník</a:t>
                      </a:r>
                      <a:endParaRPr lang="pl-PL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Č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2.12.2021 13:17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6698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9459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6918180" y="595853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12.2021 22:59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22749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7220097"/>
              </p:ext>
            </p:extLst>
          </p:nvPr>
        </p:nvGraphicFramePr>
        <p:xfrm>
          <a:off x="7905494" y="3328749"/>
          <a:ext cx="3754315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300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354015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,4 </a:t>
                      </a:r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,3 </a:t>
                      </a:r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5664686" y="5830810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3.12.2021 22:59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9329847" y="4500230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12.2021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:1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24679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08435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3.12.2021 22:5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6499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71CF6092-C670-4948-A90F-E8887AF6CCD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94554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8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 0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6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1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9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48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811036" y="591957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29147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2155</TotalTime>
  <Words>2505</Words>
  <Application>Microsoft Office PowerPoint</Application>
  <PresentationFormat>Širokoúhlá obrazovka</PresentationFormat>
  <Paragraphs>683</Paragraphs>
  <Slides>16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16</vt:i4>
      </vt:variant>
    </vt:vector>
  </HeadingPairs>
  <TitlesOfParts>
    <vt:vector size="26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Office Them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Podíl (%) volné aktuálně nahlášené kapacity standartních lůžek s kyslíkem</vt:lpstr>
      <vt:lpstr>Podíl (%) volné aktuálně nahlášené kapacity JIP</vt:lpstr>
      <vt:lpstr>Podíl (%) volné aktuálně nahlášené kapacity UPV</vt:lpstr>
      <vt:lpstr>Predikce celkového počtu hospitalizací – aktuální počet léčených </vt:lpstr>
      <vt:lpstr>Predikce počtu pacientů na JIP – aktuální počet případů </vt:lpstr>
      <vt:lpstr>VÝVOJ POČTU HOSPITALIZACÍ – CELKOVÉ A JIP – OD BŘEZNA 2020 zdroj: ÚZIS, ISIN / COVID-19 - Informační systém infekčních nemocí</vt:lpstr>
      <vt:lpstr>Risk mapping – zdroj UZIS 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ilan Havránek</cp:lastModifiedBy>
  <cp:revision>1634</cp:revision>
  <cp:lastPrinted>2020-10-20T04:21:56Z</cp:lastPrinted>
  <dcterms:created xsi:type="dcterms:W3CDTF">2020-07-15T10:33:32Z</dcterms:created>
  <dcterms:modified xsi:type="dcterms:W3CDTF">2021-12-05T17:03:58Z</dcterms:modified>
</cp:coreProperties>
</file>